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98" r:id="rId2"/>
    <p:sldId id="261" r:id="rId3"/>
    <p:sldId id="306" r:id="rId4"/>
    <p:sldId id="307" r:id="rId5"/>
    <p:sldId id="308" r:id="rId6"/>
    <p:sldId id="309" r:id="rId7"/>
    <p:sldId id="310" r:id="rId8"/>
    <p:sldId id="311" r:id="rId9"/>
    <p:sldId id="312" r:id="rId10"/>
    <p:sldId id="317" r:id="rId11"/>
    <p:sldId id="318" r:id="rId12"/>
    <p:sldId id="313" r:id="rId13"/>
    <p:sldId id="314" r:id="rId14"/>
    <p:sldId id="315" r:id="rId15"/>
    <p:sldId id="316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7F7F7F"/>
    <a:srgbClr val="D9D9D9"/>
    <a:srgbClr val="231F20"/>
    <a:srgbClr val="3B9345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61"/>
    <p:restoredTop sz="96327"/>
  </p:normalViewPr>
  <p:slideViewPr>
    <p:cSldViewPr snapToGrid="0" snapToObjects="1">
      <p:cViewPr varScale="1">
        <p:scale>
          <a:sx n="124" d="100"/>
          <a:sy n="124" d="100"/>
        </p:scale>
        <p:origin x="7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/Users/smf/Documents/VTrans/2019%20Retainer/Zero%20fare/Summary%20ZF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/Users/smf/Documents/VTrans/2019%20Retainer/Zero%20fare/Summary%20ZF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/Users/smf/Documents/VTrans/2019%20Retainer/Zero%20fare/Summary%20ZF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/Users/smf/Documents/VTrans/2019%20Retainer/Zero%20fare/Summary%20ZF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/Users/smf/Documents/VTrans/2019%20Retainer/Zero%20fare/Summary%20ZF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By county'!$A$15</c:f>
              <c:strCache>
                <c:ptCount val="1"/>
                <c:pt idx="0">
                  <c:v>Chittende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By county'!$C$14:$F$14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15:$F$15</c:f>
              <c:numCache>
                <c:formatCode>_(* #,##0_);_(* \(#,##0\);_(* "-"??_);_(@_)</c:formatCode>
                <c:ptCount val="4"/>
                <c:pt idx="0">
                  <c:v>1906421.813190731</c:v>
                </c:pt>
                <c:pt idx="1">
                  <c:v>1260920.6780748663</c:v>
                </c:pt>
                <c:pt idx="2">
                  <c:v>1766342.7176470589</c:v>
                </c:pt>
                <c:pt idx="3" formatCode="_(* #,##0_);_(* \(#,##0\);_(* &quot;-&quot;?_);_(@_)">
                  <c:v>2016759.30888539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4A6-774E-922B-A06F881108DE}"/>
            </c:ext>
          </c:extLst>
        </c:ser>
        <c:ser>
          <c:idx val="1"/>
          <c:order val="1"/>
          <c:tx>
            <c:strRef>
              <c:f>'By county'!$A$16</c:f>
              <c:strCache>
                <c:ptCount val="1"/>
                <c:pt idx="0">
                  <c:v>Rutlan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By county'!$C$14:$F$14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16:$F$16</c:f>
              <c:numCache>
                <c:formatCode>_(* #,##0_);_(* \(#,##0\);_(* "-"??_);_(@_)</c:formatCode>
                <c:ptCount val="4"/>
                <c:pt idx="0">
                  <c:v>571525</c:v>
                </c:pt>
                <c:pt idx="1">
                  <c:v>310109</c:v>
                </c:pt>
                <c:pt idx="2">
                  <c:v>463444</c:v>
                </c:pt>
                <c:pt idx="3" formatCode="_(* #,##0_);_(* \(#,##0\);_(* &quot;-&quot;?_);_(@_)">
                  <c:v>573501.302250240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4A6-774E-922B-A06F881108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3580111"/>
        <c:axId val="353508079"/>
      </c:lineChart>
      <c:catAx>
        <c:axId val="353580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3508079"/>
        <c:crosses val="autoZero"/>
        <c:auto val="1"/>
        <c:lblAlgn val="ctr"/>
        <c:lblOffset val="100"/>
        <c:noMultiLvlLbl val="0"/>
      </c:catAx>
      <c:valAx>
        <c:axId val="353508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3580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By county'!$A$2</c:f>
              <c:strCache>
                <c:ptCount val="1"/>
                <c:pt idx="0">
                  <c:v>Addis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FC-5A44-BDFF-CFA59B122057}"/>
                </c:ext>
              </c:extLst>
            </c:dLbl>
            <c:dLbl>
              <c:idx val="3"/>
              <c:layout>
                <c:manualLayout>
                  <c:x val="-1.63992000999875E-2"/>
                  <c:y val="-3.32694743696947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2:$F$2</c:f>
              <c:numCache>
                <c:formatCode>_(* #,##0_);_(* \(#,##0\);_(* "-"??_);_(@_)</c:formatCode>
                <c:ptCount val="4"/>
                <c:pt idx="0">
                  <c:v>144703.81818181818</c:v>
                </c:pt>
                <c:pt idx="1">
                  <c:v>70837.545454545456</c:v>
                </c:pt>
                <c:pt idx="2">
                  <c:v>90027</c:v>
                </c:pt>
                <c:pt idx="3" formatCode="_(* #,##0_);_(* \(#,##0\);_(* &quot;-&quot;?_);_(@_)">
                  <c:v>102635.196683378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8FC-5A44-BDFF-CFA59B122057}"/>
            </c:ext>
          </c:extLst>
        </c:ser>
        <c:ser>
          <c:idx val="1"/>
          <c:order val="1"/>
          <c:tx>
            <c:strRef>
              <c:f>'By county'!$A$3</c:f>
              <c:strCache>
                <c:ptCount val="1"/>
                <c:pt idx="0">
                  <c:v>Benningt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3:$F$3</c:f>
              <c:numCache>
                <c:formatCode>_(* #,##0_);_(* \(#,##0\);_(* "-"??_);_(@_)</c:formatCode>
                <c:ptCount val="4"/>
                <c:pt idx="0">
                  <c:v>115329</c:v>
                </c:pt>
                <c:pt idx="1">
                  <c:v>85574</c:v>
                </c:pt>
                <c:pt idx="2">
                  <c:v>111390.5</c:v>
                </c:pt>
                <c:pt idx="3" formatCode="_(* #,##0_);_(* \(#,##0\);_(* &quot;-&quot;?_);_(@_)">
                  <c:v>155300.94862742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18FC-5A44-BDFF-CFA59B122057}"/>
            </c:ext>
          </c:extLst>
        </c:ser>
        <c:ser>
          <c:idx val="2"/>
          <c:order val="2"/>
          <c:tx>
            <c:strRef>
              <c:f>'By county'!$A$4</c:f>
              <c:strCache>
                <c:ptCount val="1"/>
                <c:pt idx="0">
                  <c:v>Caledoni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8FC-5A44-BDFF-CFA59B122057}"/>
                </c:ext>
              </c:extLst>
            </c:dLbl>
            <c:dLbl>
              <c:idx val="3"/>
              <c:layout>
                <c:manualLayout>
                  <c:x val="-3.1029619181946508E-2"/>
                  <c:y val="-1.95312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4:$F$4</c:f>
              <c:numCache>
                <c:formatCode>_(* #,##0_);_(* \(#,##0\);_(* "-"??_);_(@_)</c:formatCode>
                <c:ptCount val="4"/>
                <c:pt idx="0">
                  <c:v>103301</c:v>
                </c:pt>
                <c:pt idx="1">
                  <c:v>64243</c:v>
                </c:pt>
                <c:pt idx="2">
                  <c:v>63772</c:v>
                </c:pt>
                <c:pt idx="3" formatCode="_(* #,##0_);_(* \(#,##0\);_(* &quot;-&quot;?_);_(@_)">
                  <c:v>76706.854152599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18FC-5A44-BDFF-CFA59B122057}"/>
            </c:ext>
          </c:extLst>
        </c:ser>
        <c:ser>
          <c:idx val="4"/>
          <c:order val="3"/>
          <c:tx>
            <c:strRef>
              <c:f>'By county'!$A$5</c:f>
              <c:strCache>
                <c:ptCount val="1"/>
                <c:pt idx="0">
                  <c:v>Essex 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5:$F$5</c:f>
              <c:numCache>
                <c:formatCode>_(* #,##0_);_(* \(#,##0\);_(* "-"??_);_(@_)</c:formatCode>
                <c:ptCount val="4"/>
                <c:pt idx="0">
                  <c:v>9696</c:v>
                </c:pt>
                <c:pt idx="1">
                  <c:v>5201</c:v>
                </c:pt>
                <c:pt idx="2">
                  <c:v>7416</c:v>
                </c:pt>
                <c:pt idx="3" formatCode="_(* #,##0_);_(* \(#,##0\);_(* &quot;-&quot;?_);_(@_)">
                  <c:v>8968.6577481431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18FC-5A44-BDFF-CFA59B122057}"/>
            </c:ext>
          </c:extLst>
        </c:ser>
        <c:ser>
          <c:idx val="5"/>
          <c:order val="4"/>
          <c:tx>
            <c:strRef>
              <c:f>'By county'!$A$6</c:f>
              <c:strCache>
                <c:ptCount val="1"/>
                <c:pt idx="0">
                  <c:v>Frankli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8FC-5A44-BDFF-CFA59B122057}"/>
                </c:ext>
              </c:extLst>
            </c:dLbl>
            <c:dLbl>
              <c:idx val="3"/>
              <c:layout>
                <c:manualLayout>
                  <c:x val="-2.5387870239774433E-2"/>
                  <c:y val="2.1484374999999858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6:$F$6</c:f>
              <c:numCache>
                <c:formatCode>_(* #,##0_);_(* \(#,##0\);_(* "-"??_);_(@_)</c:formatCode>
                <c:ptCount val="4"/>
                <c:pt idx="0">
                  <c:v>83738.882352941175</c:v>
                </c:pt>
                <c:pt idx="1">
                  <c:v>45449.294117647063</c:v>
                </c:pt>
                <c:pt idx="2">
                  <c:v>49627.117647058825</c:v>
                </c:pt>
                <c:pt idx="3" formatCode="_(* #,##0_);_(* \(#,##0\);_(* &quot;-&quot;?_);_(@_)">
                  <c:v>77224.11079096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18FC-5A44-BDFF-CFA59B122057}"/>
            </c:ext>
          </c:extLst>
        </c:ser>
        <c:ser>
          <c:idx val="6"/>
          <c:order val="5"/>
          <c:tx>
            <c:strRef>
              <c:f>'By county'!$A$7</c:f>
              <c:strCache>
                <c:ptCount val="1"/>
                <c:pt idx="0">
                  <c:v>Grand Isle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18FC-5A44-BDFF-CFA59B122057}"/>
                </c:ext>
              </c:extLst>
            </c:dLbl>
            <c:dLbl>
              <c:idx val="3"/>
              <c:layout>
                <c:manualLayout>
                  <c:x val="-8.4626234132581107E-3"/>
                  <c:y val="-2.148437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7:$F$7</c:f>
              <c:numCache>
                <c:formatCode>_(* #,##0_);_(* \(#,##0\);_(* "-"??_);_(@_)</c:formatCode>
                <c:ptCount val="4"/>
                <c:pt idx="0">
                  <c:v>13046</c:v>
                </c:pt>
                <c:pt idx="1">
                  <c:v>8018</c:v>
                </c:pt>
                <c:pt idx="2">
                  <c:v>8944</c:v>
                </c:pt>
                <c:pt idx="3" formatCode="_(* #,##0_);_(* \(#,##0\);_(* &quot;-&quot;?_);_(@_)">
                  <c:v>12200.3899009590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18FC-5A44-BDFF-CFA59B122057}"/>
            </c:ext>
          </c:extLst>
        </c:ser>
        <c:ser>
          <c:idx val="7"/>
          <c:order val="6"/>
          <c:tx>
            <c:strRef>
              <c:f>'By county'!$A$8</c:f>
              <c:strCache>
                <c:ptCount val="1"/>
                <c:pt idx="0">
                  <c:v>Lamoille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8:$F$8</c:f>
              <c:numCache>
                <c:formatCode>_(* #,##0_);_(* \(#,##0\);_(* "-"??_);_(@_)</c:formatCode>
                <c:ptCount val="4"/>
                <c:pt idx="0">
                  <c:v>113964.35294117648</c:v>
                </c:pt>
                <c:pt idx="1">
                  <c:v>28200.882352941175</c:v>
                </c:pt>
                <c:pt idx="2">
                  <c:v>94028.76470588235</c:v>
                </c:pt>
                <c:pt idx="3" formatCode="_(* #,##0_);_(* \(#,##0\);_(* &quot;-&quot;?_);_(@_)">
                  <c:v>99052.900573936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18FC-5A44-BDFF-CFA59B122057}"/>
            </c:ext>
          </c:extLst>
        </c:ser>
        <c:ser>
          <c:idx val="8"/>
          <c:order val="7"/>
          <c:tx>
            <c:strRef>
              <c:f>'By county'!$A$9</c:f>
              <c:strCache>
                <c:ptCount val="1"/>
                <c:pt idx="0">
                  <c:v>Orange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9:$F$9</c:f>
              <c:numCache>
                <c:formatCode>_(* #,##0_);_(* \(#,##0\);_(* "-"??_);_(@_)</c:formatCode>
                <c:ptCount val="4"/>
                <c:pt idx="0">
                  <c:v>65255</c:v>
                </c:pt>
                <c:pt idx="1">
                  <c:v>43498</c:v>
                </c:pt>
                <c:pt idx="2">
                  <c:v>49836</c:v>
                </c:pt>
                <c:pt idx="3" formatCode="_(* #,##0_);_(* \(#,##0\);_(* &quot;-&quot;?_);_(@_)">
                  <c:v>56957.494769874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18FC-5A44-BDFF-CFA59B122057}"/>
            </c:ext>
          </c:extLst>
        </c:ser>
        <c:ser>
          <c:idx val="9"/>
          <c:order val="8"/>
          <c:tx>
            <c:strRef>
              <c:f>'By county'!$A$10</c:f>
              <c:strCache>
                <c:ptCount val="1"/>
                <c:pt idx="0">
                  <c:v>Orleans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18FC-5A44-BDFF-CFA59B122057}"/>
                </c:ext>
              </c:extLst>
            </c:dLbl>
            <c:dLbl>
              <c:idx val="3"/>
              <c:layout>
                <c:manualLayout>
                  <c:x val="-1.5873015873015872E-2"/>
                  <c:y val="1.923341118285468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10:$F$10</c:f>
              <c:numCache>
                <c:formatCode>_(* #,##0_);_(* \(#,##0\);_(* "-"??_);_(@_)</c:formatCode>
                <c:ptCount val="4"/>
                <c:pt idx="0">
                  <c:v>62269</c:v>
                </c:pt>
                <c:pt idx="1">
                  <c:v>35090</c:v>
                </c:pt>
                <c:pt idx="2">
                  <c:v>38289</c:v>
                </c:pt>
                <c:pt idx="3" formatCode="_(* #,##0_);_(* \(#,##0\);_(* &quot;-&quot;?_);_(@_)">
                  <c:v>47411.2196151249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8-18FC-5A44-BDFF-CFA59B122057}"/>
            </c:ext>
          </c:extLst>
        </c:ser>
        <c:ser>
          <c:idx val="11"/>
          <c:order val="9"/>
          <c:tx>
            <c:strRef>
              <c:f>'By county'!$A$11</c:f>
              <c:strCache>
                <c:ptCount val="1"/>
                <c:pt idx="0">
                  <c:v>Washington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11:$F$11</c:f>
              <c:numCache>
                <c:formatCode>_(* #,##0_);_(* \(#,##0\);_(* "-"??_);_(@_)</c:formatCode>
                <c:ptCount val="4"/>
                <c:pt idx="0">
                  <c:v>282953</c:v>
                </c:pt>
                <c:pt idx="1">
                  <c:v>139138.6</c:v>
                </c:pt>
                <c:pt idx="2">
                  <c:v>194752.4</c:v>
                </c:pt>
                <c:pt idx="3" formatCode="_(* #,##0_);_(* \(#,##0\);_(* &quot;-&quot;?_);_(@_)">
                  <c:v>196613.05712517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C-18FC-5A44-BDFF-CFA59B122057}"/>
            </c:ext>
          </c:extLst>
        </c:ser>
        <c:ser>
          <c:idx val="12"/>
          <c:order val="10"/>
          <c:tx>
            <c:strRef>
              <c:f>'By county'!$A$12</c:f>
              <c:strCache>
                <c:ptCount val="1"/>
                <c:pt idx="0">
                  <c:v>Windham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12:$F$12</c:f>
              <c:numCache>
                <c:formatCode>_(* #,##0_);_(* \(#,##0\);_(* "-"??_);_(@_)</c:formatCode>
                <c:ptCount val="4"/>
                <c:pt idx="0">
                  <c:v>353103</c:v>
                </c:pt>
                <c:pt idx="1">
                  <c:v>155054.5</c:v>
                </c:pt>
                <c:pt idx="2">
                  <c:v>334268</c:v>
                </c:pt>
                <c:pt idx="3" formatCode="_(* #,##0_);_(* \(#,##0\);_(* &quot;-&quot;?_);_(@_)">
                  <c:v>375964.58027629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0-18FC-5A44-BDFF-CFA59B122057}"/>
            </c:ext>
          </c:extLst>
        </c:ser>
        <c:ser>
          <c:idx val="13"/>
          <c:order val="11"/>
          <c:tx>
            <c:strRef>
              <c:f>'By county'!$A$13</c:f>
              <c:strCache>
                <c:ptCount val="1"/>
                <c:pt idx="0">
                  <c:v>Windsor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18FC-5A44-BDFF-CFA59B12205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18FC-5A44-BDFF-CFA59B12205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18FC-5A44-BDFF-CFA59B1220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By county'!$C$1:$F$1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county'!$C$13:$F$13</c:f>
              <c:numCache>
                <c:formatCode>_(* #,##0_);_(* \(#,##0\);_(* "-"??_);_(@_)</c:formatCode>
                <c:ptCount val="4"/>
                <c:pt idx="0">
                  <c:v>304318</c:v>
                </c:pt>
                <c:pt idx="1">
                  <c:v>186293.5</c:v>
                </c:pt>
                <c:pt idx="2">
                  <c:v>182284.5</c:v>
                </c:pt>
                <c:pt idx="3" formatCode="_(* #,##0_);_(* \(#,##0\);_(* &quot;-&quot;?_);_(@_)">
                  <c:v>290184.60963363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4-18FC-5A44-BDFF-CFA59B1220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8478352"/>
        <c:axId val="1677968272"/>
      </c:lineChart>
      <c:catAx>
        <c:axId val="167847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7968272"/>
        <c:crosses val="autoZero"/>
        <c:auto val="1"/>
        <c:lblAlgn val="ctr"/>
        <c:lblOffset val="100"/>
        <c:noMultiLvlLbl val="0"/>
      </c:catAx>
      <c:valAx>
        <c:axId val="1677968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478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'By type'!$A$15</c:f>
              <c:strCache>
                <c:ptCount val="1"/>
                <c:pt idx="0">
                  <c:v>Commuter bus/shuttl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By type'!$B$13:$E$13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type'!$B$15:$E$15</c:f>
              <c:numCache>
                <c:formatCode>_(* #,##0_);_(* \(#,##0\);_(* "-"??_);_(@_)</c:formatCode>
                <c:ptCount val="4"/>
                <c:pt idx="0">
                  <c:v>401359</c:v>
                </c:pt>
                <c:pt idx="1">
                  <c:v>193347</c:v>
                </c:pt>
                <c:pt idx="2">
                  <c:v>279745</c:v>
                </c:pt>
                <c:pt idx="3">
                  <c:v>405004.76190476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CBF-AA46-A791-ECB8C198C37D}"/>
            </c:ext>
          </c:extLst>
        </c:ser>
        <c:ser>
          <c:idx val="2"/>
          <c:order val="2"/>
          <c:tx>
            <c:strRef>
              <c:f>'By type'!$A$16</c:f>
              <c:strCache>
                <c:ptCount val="1"/>
                <c:pt idx="0">
                  <c:v>Touris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By type'!$B$13:$E$13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type'!$B$16:$E$16</c:f>
              <c:numCache>
                <c:formatCode>_(* #,##0_);_(* \(#,##0\);_(* "-"??_);_(@_)</c:formatCode>
                <c:ptCount val="4"/>
                <c:pt idx="0">
                  <c:v>412295</c:v>
                </c:pt>
                <c:pt idx="1">
                  <c:v>112937</c:v>
                </c:pt>
                <c:pt idx="2">
                  <c:v>327717</c:v>
                </c:pt>
                <c:pt idx="3">
                  <c:v>37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BF-AA46-A791-ECB8C198C37D}"/>
            </c:ext>
          </c:extLst>
        </c:ser>
        <c:ser>
          <c:idx val="3"/>
          <c:order val="3"/>
          <c:tx>
            <c:strRef>
              <c:f>'By type'!$A$17</c:f>
              <c:strCache>
                <c:ptCount val="1"/>
                <c:pt idx="0">
                  <c:v>Demand response van/microtransi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By type'!$B$13:$E$13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type'!$B$17:$E$17</c:f>
              <c:numCache>
                <c:formatCode>_(* #,##0_);_(* \(#,##0\);_(* "-"??_);_(@_)</c:formatCode>
                <c:ptCount val="4"/>
                <c:pt idx="0">
                  <c:v>386436</c:v>
                </c:pt>
                <c:pt idx="1">
                  <c:v>175269</c:v>
                </c:pt>
                <c:pt idx="2">
                  <c:v>175269</c:v>
                </c:pt>
                <c:pt idx="3">
                  <c:v>2844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CBF-AA46-A791-ECB8C198C37D}"/>
            </c:ext>
          </c:extLst>
        </c:ser>
        <c:ser>
          <c:idx val="4"/>
          <c:order val="4"/>
          <c:tx>
            <c:strRef>
              <c:f>'By type'!$A$18</c:f>
              <c:strCache>
                <c:ptCount val="1"/>
                <c:pt idx="0">
                  <c:v>Volunteer drive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By type'!$B$13:$E$13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type'!$B$18:$E$18</c:f>
              <c:numCache>
                <c:formatCode>_(* #,##0_);_(* \(#,##0\);_(* "-"??_);_(@_)</c:formatCode>
                <c:ptCount val="4"/>
                <c:pt idx="0">
                  <c:v>247532</c:v>
                </c:pt>
                <c:pt idx="1">
                  <c:v>193446</c:v>
                </c:pt>
                <c:pt idx="2">
                  <c:v>193446</c:v>
                </c:pt>
                <c:pt idx="3">
                  <c:v>237679.16666666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CBF-AA46-A791-ECB8C198C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0820624"/>
        <c:axId val="320822272"/>
      </c:lineChart>
      <c:lineChart>
        <c:grouping val="standard"/>
        <c:varyColors val="0"/>
        <c:ser>
          <c:idx val="0"/>
          <c:order val="0"/>
          <c:tx>
            <c:strRef>
              <c:f>'By type'!$A$14</c:f>
              <c:strCache>
                <c:ptCount val="1"/>
                <c:pt idx="0">
                  <c:v>Local bus/shuttl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By type'!$B$13:$E$13</c:f>
              <c:strCache>
                <c:ptCount val="4"/>
                <c:pt idx="0">
                  <c:v>FY20</c:v>
                </c:pt>
                <c:pt idx="1">
                  <c:v>FY21</c:v>
                </c:pt>
                <c:pt idx="2">
                  <c:v>FY22</c:v>
                </c:pt>
                <c:pt idx="3">
                  <c:v>FY23</c:v>
                </c:pt>
              </c:strCache>
            </c:strRef>
          </c:cat>
          <c:val>
            <c:numRef>
              <c:f>'By type'!$B$14:$E$14</c:f>
              <c:numCache>
                <c:formatCode>_(* #,##0_);_(* \(#,##0\);_(* "-"??_);_(@_)</c:formatCode>
                <c:ptCount val="4"/>
                <c:pt idx="0">
                  <c:v>2684476.8666666667</c:v>
                </c:pt>
                <c:pt idx="1">
                  <c:v>1733654.6</c:v>
                </c:pt>
                <c:pt idx="2">
                  <c:v>2319271</c:v>
                </c:pt>
                <c:pt idx="3">
                  <c:v>2767700.7969161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CBF-AA46-A791-ECB8C198C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3658687"/>
        <c:axId val="793703471"/>
      </c:lineChart>
      <c:catAx>
        <c:axId val="32082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822272"/>
        <c:crosses val="autoZero"/>
        <c:auto val="1"/>
        <c:lblAlgn val="ctr"/>
        <c:lblOffset val="100"/>
        <c:noMultiLvlLbl val="0"/>
      </c:catAx>
      <c:valAx>
        <c:axId val="320822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/>
                  <a:t>All Except Local Bu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820624"/>
        <c:crosses val="autoZero"/>
        <c:crossBetween val="between"/>
      </c:valAx>
      <c:valAx>
        <c:axId val="793703471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/>
                  <a:t>Local Bu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658687"/>
        <c:crosses val="max"/>
        <c:crossBetween val="between"/>
      </c:valAx>
      <c:catAx>
        <c:axId val="79365868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937034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Quarterly by type'!$D$147</c:f>
              <c:strCache>
                <c:ptCount val="1"/>
                <c:pt idx="0">
                  <c:v>Local bus/shuttl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Quarterly by type'!$F$146:$R$146</c:f>
              <c:strCache>
                <c:ptCount val="13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  <c:pt idx="12">
                  <c:v>FY23 Q1</c:v>
                </c:pt>
              </c:strCache>
            </c:strRef>
          </c:cat>
          <c:val>
            <c:numRef>
              <c:f>'Quarterly by type'!$F$147:$R$147</c:f>
              <c:numCache>
                <c:formatCode>#,##0.00</c:formatCode>
                <c:ptCount val="13"/>
                <c:pt idx="0">
                  <c:v>1</c:v>
                </c:pt>
                <c:pt idx="1">
                  <c:v>1.0683064117899268</c:v>
                </c:pt>
                <c:pt idx="2">
                  <c:v>0.98646475739537665</c:v>
                </c:pt>
                <c:pt idx="3">
                  <c:v>0.35374191023843982</c:v>
                </c:pt>
                <c:pt idx="4">
                  <c:v>0.51580286580965951</c:v>
                </c:pt>
                <c:pt idx="5">
                  <c:v>0.53985357672911594</c:v>
                </c:pt>
                <c:pt idx="6">
                  <c:v>0.52392185951426973</c:v>
                </c:pt>
                <c:pt idx="7">
                  <c:v>0.58591286874423554</c:v>
                </c:pt>
                <c:pt idx="8">
                  <c:v>0.67146475369943703</c:v>
                </c:pt>
                <c:pt idx="9">
                  <c:v>0.80413173741384047</c:v>
                </c:pt>
                <c:pt idx="10">
                  <c:v>0.79878494480086837</c:v>
                </c:pt>
                <c:pt idx="11">
                  <c:v>0.7400687844473548</c:v>
                </c:pt>
                <c:pt idx="12">
                  <c:v>0.81058115200575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326-4D4D-A9BB-D095D119CF9D}"/>
            </c:ext>
          </c:extLst>
        </c:ser>
        <c:ser>
          <c:idx val="1"/>
          <c:order val="1"/>
          <c:tx>
            <c:strRef>
              <c:f>'Quarterly by type'!$D$148</c:f>
              <c:strCache>
                <c:ptCount val="1"/>
                <c:pt idx="0">
                  <c:v>Commuter bus/shuttl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Quarterly by type'!$F$146:$R$146</c:f>
              <c:strCache>
                <c:ptCount val="13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  <c:pt idx="12">
                  <c:v>FY23 Q1</c:v>
                </c:pt>
              </c:strCache>
            </c:strRef>
          </c:cat>
          <c:val>
            <c:numRef>
              <c:f>'Quarterly by type'!$F$148:$R$148</c:f>
              <c:numCache>
                <c:formatCode>#,##0.00</c:formatCode>
                <c:ptCount val="13"/>
                <c:pt idx="0">
                  <c:v>1</c:v>
                </c:pt>
                <c:pt idx="1">
                  <c:v>1.0700790801700149</c:v>
                </c:pt>
                <c:pt idx="2">
                  <c:v>0.9857768924599577</c:v>
                </c:pt>
                <c:pt idx="3">
                  <c:v>0.23964666085118144</c:v>
                </c:pt>
                <c:pt idx="4">
                  <c:v>0.37534131625802247</c:v>
                </c:pt>
                <c:pt idx="5">
                  <c:v>0.42045974779533435</c:v>
                </c:pt>
                <c:pt idx="6">
                  <c:v>0.38488480397816938</c:v>
                </c:pt>
                <c:pt idx="7">
                  <c:v>0.42305047776619814</c:v>
                </c:pt>
                <c:pt idx="8">
                  <c:v>0.50535788616961574</c:v>
                </c:pt>
                <c:pt idx="9">
                  <c:v>0.58336120644252465</c:v>
                </c:pt>
                <c:pt idx="10">
                  <c:v>0.61811671809638136</c:v>
                </c:pt>
                <c:pt idx="11">
                  <c:v>0.61894442735224831</c:v>
                </c:pt>
                <c:pt idx="12">
                  <c:v>0.67349874440644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326-4D4D-A9BB-D095D119C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5665631"/>
        <c:axId val="345668191"/>
      </c:lineChart>
      <c:catAx>
        <c:axId val="345665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68191"/>
        <c:crosses val="autoZero"/>
        <c:auto val="1"/>
        <c:lblAlgn val="ctr"/>
        <c:lblOffset val="100"/>
        <c:noMultiLvlLbl val="0"/>
      </c:catAx>
      <c:valAx>
        <c:axId val="345668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5665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Quarterly by type'!$D$158</c:f>
              <c:strCache>
                <c:ptCount val="1"/>
                <c:pt idx="0">
                  <c:v>Urba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Quarterly by type'!$F$157:$Q$157</c:f>
              <c:strCache>
                <c:ptCount val="12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</c:strCache>
            </c:strRef>
          </c:cat>
          <c:val>
            <c:numRef>
              <c:f>'Quarterly by type'!$F$158:$Q$158</c:f>
              <c:numCache>
                <c:formatCode>#,##0.00</c:formatCode>
                <c:ptCount val="12"/>
                <c:pt idx="0">
                  <c:v>1</c:v>
                </c:pt>
                <c:pt idx="1">
                  <c:v>1.0733156580017462</c:v>
                </c:pt>
                <c:pt idx="2">
                  <c:v>0.89234043117838069</c:v>
                </c:pt>
                <c:pt idx="3">
                  <c:v>0.36908055703423343</c:v>
                </c:pt>
                <c:pt idx="4">
                  <c:v>0.52611434818481106</c:v>
                </c:pt>
                <c:pt idx="5">
                  <c:v>0.54616004663548512</c:v>
                </c:pt>
                <c:pt idx="6">
                  <c:v>0.51114780252719183</c:v>
                </c:pt>
                <c:pt idx="7">
                  <c:v>0.58878733404599282</c:v>
                </c:pt>
                <c:pt idx="8">
                  <c:v>0.70650904774772216</c:v>
                </c:pt>
                <c:pt idx="9">
                  <c:v>0.84253303517507838</c:v>
                </c:pt>
                <c:pt idx="10">
                  <c:v>0.75887076369702366</c:v>
                </c:pt>
                <c:pt idx="11">
                  <c:v>0.76086851465046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7A-0146-86B3-56D3B8498819}"/>
            </c:ext>
          </c:extLst>
        </c:ser>
        <c:ser>
          <c:idx val="1"/>
          <c:order val="1"/>
          <c:tx>
            <c:strRef>
              <c:f>'Quarterly by type'!$D$159</c:f>
              <c:strCache>
                <c:ptCount val="1"/>
                <c:pt idx="0">
                  <c:v>Small Tow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Quarterly by type'!$F$157:$Q$157</c:f>
              <c:strCache>
                <c:ptCount val="12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</c:strCache>
            </c:strRef>
          </c:cat>
          <c:val>
            <c:numRef>
              <c:f>'Quarterly by type'!$F$159:$Q$159</c:f>
              <c:numCache>
                <c:formatCode>#,##0.00</c:formatCode>
                <c:ptCount val="12"/>
                <c:pt idx="0">
                  <c:v>1</c:v>
                </c:pt>
                <c:pt idx="1">
                  <c:v>1.035710834261224</c:v>
                </c:pt>
                <c:pt idx="2">
                  <c:v>1.0504128237988193</c:v>
                </c:pt>
                <c:pt idx="3">
                  <c:v>0.33145234143574442</c:v>
                </c:pt>
                <c:pt idx="4">
                  <c:v>0.50450219542427366</c:v>
                </c:pt>
                <c:pt idx="5">
                  <c:v>0.53133889367423681</c:v>
                </c:pt>
                <c:pt idx="6">
                  <c:v>0.55457131452341424</c:v>
                </c:pt>
                <c:pt idx="7">
                  <c:v>0.59450996869682138</c:v>
                </c:pt>
                <c:pt idx="8">
                  <c:v>0.60740771864955145</c:v>
                </c:pt>
                <c:pt idx="9">
                  <c:v>0.70661568520347062</c:v>
                </c:pt>
                <c:pt idx="10">
                  <c:v>0.77931048971617056</c:v>
                </c:pt>
                <c:pt idx="11">
                  <c:v>0.71216622197945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7A-0146-86B3-56D3B8498819}"/>
            </c:ext>
          </c:extLst>
        </c:ser>
        <c:ser>
          <c:idx val="2"/>
          <c:order val="2"/>
          <c:tx>
            <c:strRef>
              <c:f>'Quarterly by type'!$D$160</c:f>
              <c:strCache>
                <c:ptCount val="1"/>
                <c:pt idx="0">
                  <c:v>Rural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Quarterly by type'!$F$157:$Q$157</c:f>
              <c:strCache>
                <c:ptCount val="12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</c:strCache>
            </c:strRef>
          </c:cat>
          <c:val>
            <c:numRef>
              <c:f>'Quarterly by type'!$F$160:$Q$160</c:f>
              <c:numCache>
                <c:formatCode>#,##0.00</c:formatCode>
                <c:ptCount val="12"/>
                <c:pt idx="0">
                  <c:v>1</c:v>
                </c:pt>
                <c:pt idx="1">
                  <c:v>1.2303675023475387</c:v>
                </c:pt>
                <c:pt idx="2">
                  <c:v>2.139443794136942</c:v>
                </c:pt>
                <c:pt idx="3">
                  <c:v>0.25668566136273008</c:v>
                </c:pt>
                <c:pt idx="4">
                  <c:v>0.42236400355025017</c:v>
                </c:pt>
                <c:pt idx="5">
                  <c:v>0.49497691051054138</c:v>
                </c:pt>
                <c:pt idx="6">
                  <c:v>0.51224579050951236</c:v>
                </c:pt>
                <c:pt idx="7">
                  <c:v>0.46995793725318685</c:v>
                </c:pt>
                <c:pt idx="8">
                  <c:v>0.55022446328192331</c:v>
                </c:pt>
                <c:pt idx="9">
                  <c:v>0.88039129931439009</c:v>
                </c:pt>
                <c:pt idx="10">
                  <c:v>1.6443060933098363</c:v>
                </c:pt>
                <c:pt idx="11">
                  <c:v>0.5906793069294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87A-0146-86B3-56D3B8498819}"/>
            </c:ext>
          </c:extLst>
        </c:ser>
        <c:ser>
          <c:idx val="3"/>
          <c:order val="3"/>
          <c:tx>
            <c:strRef>
              <c:f>'Quarterly by type'!$D$161</c:f>
              <c:strCache>
                <c:ptCount val="1"/>
                <c:pt idx="0">
                  <c:v>Rural Commuter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Quarterly by type'!$F$157:$Q$157</c:f>
              <c:strCache>
                <c:ptCount val="12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</c:strCache>
            </c:strRef>
          </c:cat>
          <c:val>
            <c:numRef>
              <c:f>'Quarterly by type'!$F$161:$Q$161</c:f>
              <c:numCache>
                <c:formatCode>#,##0.00</c:formatCode>
                <c:ptCount val="12"/>
                <c:pt idx="0">
                  <c:v>1</c:v>
                </c:pt>
                <c:pt idx="1">
                  <c:v>1.0558635141472723</c:v>
                </c:pt>
                <c:pt idx="2">
                  <c:v>1.0041992346256652</c:v>
                </c:pt>
                <c:pt idx="3">
                  <c:v>0.2934986091106242</c:v>
                </c:pt>
                <c:pt idx="4">
                  <c:v>0.45216324011636272</c:v>
                </c:pt>
                <c:pt idx="5">
                  <c:v>0.49813984115105947</c:v>
                </c:pt>
                <c:pt idx="6">
                  <c:v>0.44970097930304198</c:v>
                </c:pt>
                <c:pt idx="7">
                  <c:v>0.50379872126588432</c:v>
                </c:pt>
                <c:pt idx="8">
                  <c:v>0.60662330879760029</c:v>
                </c:pt>
                <c:pt idx="9">
                  <c:v>0.6967910117976851</c:v>
                </c:pt>
                <c:pt idx="10">
                  <c:v>0.7282388341151852</c:v>
                </c:pt>
                <c:pt idx="11">
                  <c:v>0.70492655191187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87A-0146-86B3-56D3B8498819}"/>
            </c:ext>
          </c:extLst>
        </c:ser>
        <c:ser>
          <c:idx val="4"/>
          <c:order val="4"/>
          <c:tx>
            <c:strRef>
              <c:f>'Quarterly by type'!$D$162</c:f>
              <c:strCache>
                <c:ptCount val="1"/>
                <c:pt idx="0">
                  <c:v>Express Commute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2.05267951450087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87A-0146-86B3-56D3B84988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uarterly by type'!$F$157:$Q$157</c:f>
              <c:strCache>
                <c:ptCount val="12"/>
                <c:pt idx="0">
                  <c:v>FY20 Q1</c:v>
                </c:pt>
                <c:pt idx="1">
                  <c:v>FY20 Q2</c:v>
                </c:pt>
                <c:pt idx="2">
                  <c:v>FY20 Q3</c:v>
                </c:pt>
                <c:pt idx="3">
                  <c:v>FY20 Q4</c:v>
                </c:pt>
                <c:pt idx="4">
                  <c:v>FY21 Q1</c:v>
                </c:pt>
                <c:pt idx="5">
                  <c:v>FY21 Q2</c:v>
                </c:pt>
                <c:pt idx="6">
                  <c:v>FY21 Q3</c:v>
                </c:pt>
                <c:pt idx="7">
                  <c:v>FY21 Q4</c:v>
                </c:pt>
                <c:pt idx="8">
                  <c:v>FY22 Q1</c:v>
                </c:pt>
                <c:pt idx="9">
                  <c:v>FY22 Q2</c:v>
                </c:pt>
                <c:pt idx="10">
                  <c:v>FY22 Q3</c:v>
                </c:pt>
                <c:pt idx="11">
                  <c:v>FY22 Q4</c:v>
                </c:pt>
              </c:strCache>
            </c:strRef>
          </c:cat>
          <c:val>
            <c:numRef>
              <c:f>'Quarterly by type'!$F$162:$Q$162</c:f>
              <c:numCache>
                <c:formatCode>#,##0.00</c:formatCode>
                <c:ptCount val="12"/>
                <c:pt idx="0">
                  <c:v>1</c:v>
                </c:pt>
                <c:pt idx="1">
                  <c:v>1.0892985769073529</c:v>
                </c:pt>
                <c:pt idx="2">
                  <c:v>0.96086981914458702</c:v>
                </c:pt>
                <c:pt idx="3">
                  <c:v>0.16683863180641267</c:v>
                </c:pt>
                <c:pt idx="4">
                  <c:v>0.27147779702922109</c:v>
                </c:pt>
                <c:pt idx="5">
                  <c:v>0.31543598029863529</c:v>
                </c:pt>
                <c:pt idx="6">
                  <c:v>0.29725310023945334</c:v>
                </c:pt>
                <c:pt idx="7">
                  <c:v>0.31387856016508653</c:v>
                </c:pt>
                <c:pt idx="8">
                  <c:v>0.36844666809430177</c:v>
                </c:pt>
                <c:pt idx="9">
                  <c:v>0.4300036988728172</c:v>
                </c:pt>
                <c:pt idx="10">
                  <c:v>0.46923121848657701</c:v>
                </c:pt>
                <c:pt idx="11">
                  <c:v>0.502696283606206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87A-0146-86B3-56D3B849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08144928"/>
        <c:axId val="1607856960"/>
      </c:lineChart>
      <c:catAx>
        <c:axId val="1608144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856960"/>
        <c:crosses val="autoZero"/>
        <c:auto val="1"/>
        <c:lblAlgn val="ctr"/>
        <c:lblOffset val="100"/>
        <c:noMultiLvlLbl val="0"/>
      </c:catAx>
      <c:valAx>
        <c:axId val="1607856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8144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DEACE0-2512-437A-9E54-D73BE8569AE2}" type="datetimeFigureOut">
              <a:rPr lang="en-US" smtClean="0"/>
              <a:t>1/1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76942E-B246-4DC3-9B4E-C3604B9425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254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jp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9E991164-D5EC-4AC4-BCD7-CE501E32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529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9E991164-D5EC-4AC4-BCD7-CE501E32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C19AAD8F-20A6-452C-8B60-4005FE6870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weave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CEA4FE-8065-E848-8966-CBC6408694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485" y="2395273"/>
            <a:ext cx="5892800" cy="1329595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6AF4FD-B2E7-774C-91AB-9C53531D2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0485" y="4198923"/>
            <a:ext cx="589280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FA252A10-306D-4155-B6FA-DE495FBA65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9307285" y="276887"/>
            <a:ext cx="2544890" cy="2118386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F74F78AE-95A5-4826-8F70-F26C08E374B4}"/>
              </a:ext>
            </a:extLst>
          </p:cNvPr>
          <p:cNvSpPr/>
          <p:nvPr userDrawn="1"/>
        </p:nvSpPr>
        <p:spPr>
          <a:xfrm>
            <a:off x="0" y="6756137"/>
            <a:ext cx="12192000" cy="1018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3BB502-4030-44D7-8C18-1F5645E21F75}"/>
              </a:ext>
            </a:extLst>
          </p:cNvPr>
          <p:cNvGrpSpPr/>
          <p:nvPr userDrawn="1"/>
        </p:nvGrpSpPr>
        <p:grpSpPr>
          <a:xfrm>
            <a:off x="620485" y="3809100"/>
            <a:ext cx="567759" cy="101863"/>
            <a:chOff x="5741894" y="5000989"/>
            <a:chExt cx="393888" cy="101863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531BD36-C627-4651-A789-4BC019D018FF}"/>
                </a:ext>
              </a:extLst>
            </p:cNvPr>
            <p:cNvSpPr/>
            <p:nvPr userDrawn="1"/>
          </p:nvSpPr>
          <p:spPr>
            <a:xfrm>
              <a:off x="5741894" y="5000989"/>
              <a:ext cx="196944" cy="10186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7757524-52CD-47BF-80F2-865D52256AFC}"/>
                </a:ext>
              </a:extLst>
            </p:cNvPr>
            <p:cNvSpPr/>
            <p:nvPr userDrawn="1"/>
          </p:nvSpPr>
          <p:spPr>
            <a:xfrm>
              <a:off x="5938838" y="5000989"/>
              <a:ext cx="196944" cy="10186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375633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57FBC7-1F41-614E-99D8-0FAA61CAE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86A58-D5CA-1B49-B359-A7A85E34A2AD}" type="datetimeFigureOut">
              <a:t>1/16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AC9C79-75ED-F54B-B2A1-FB79E1EAD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91A66B-4E93-C847-B75A-51E8FA075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64AAFE-FC82-FA4D-BB8E-6913473277B8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151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9E991164-D5EC-4AC4-BCD7-CE501E32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4335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9E991164-D5EC-4AC4-BCD7-CE501E32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lorful lights on the road">
            <a:extLst>
              <a:ext uri="{FF2B5EF4-FFF2-40B4-BE49-F238E27FC236}">
                <a16:creationId xmlns:a16="http://schemas.microsoft.com/office/drawing/2014/main" id="{C75091E4-66B9-4F98-AED0-3A25C7CD80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6406" b="29610"/>
          <a:stretch/>
        </p:blipFill>
        <p:spPr>
          <a:xfrm>
            <a:off x="0" y="1657348"/>
            <a:ext cx="12192000" cy="5200651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FA252A10-306D-4155-B6FA-DE495FBA65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10481935" y="261464"/>
            <a:ext cx="1414790" cy="11776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DCEA4FE-8065-E848-8966-CBC6408694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485" y="2286998"/>
            <a:ext cx="4894490" cy="1218795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6AF4FD-B2E7-774C-91AB-9C53531D2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0485" y="3867558"/>
            <a:ext cx="489449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43BB502-4030-44D7-8C18-1F5645E21F75}"/>
              </a:ext>
            </a:extLst>
          </p:cNvPr>
          <p:cNvGrpSpPr/>
          <p:nvPr userDrawn="1"/>
        </p:nvGrpSpPr>
        <p:grpSpPr>
          <a:xfrm>
            <a:off x="620485" y="3590025"/>
            <a:ext cx="567759" cy="101863"/>
            <a:chOff x="5741894" y="5000989"/>
            <a:chExt cx="393888" cy="101863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531BD36-C627-4651-A789-4BC019D018FF}"/>
                </a:ext>
              </a:extLst>
            </p:cNvPr>
            <p:cNvSpPr/>
            <p:nvPr userDrawn="1"/>
          </p:nvSpPr>
          <p:spPr>
            <a:xfrm>
              <a:off x="5741894" y="5000989"/>
              <a:ext cx="196944" cy="1018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7757524-52CD-47BF-80F2-865D52256AFC}"/>
                </a:ext>
              </a:extLst>
            </p:cNvPr>
            <p:cNvSpPr/>
            <p:nvPr userDrawn="1"/>
          </p:nvSpPr>
          <p:spPr>
            <a:xfrm>
              <a:off x="5938838" y="5000989"/>
              <a:ext cx="196944" cy="1018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0881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9E991164-D5EC-4AC4-BCD7-CE501E32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17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9E991164-D5EC-4AC4-BCD7-CE501E32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78A61999-75DC-49BA-8725-7311359C7306}"/>
              </a:ext>
            </a:extLst>
          </p:cNvPr>
          <p:cNvSpPr/>
          <p:nvPr userDrawn="1"/>
        </p:nvSpPr>
        <p:spPr>
          <a:xfrm flipH="1">
            <a:off x="11277600" y="5854700"/>
            <a:ext cx="914400" cy="9144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CEA4FE-8065-E848-8966-CBC6408694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8586" y="2487977"/>
            <a:ext cx="5892800" cy="1329595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6AF4FD-B2E7-774C-91AB-9C53531D21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8586" y="4291627"/>
            <a:ext cx="5892800" cy="2769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FA252A10-306D-4155-B6FA-DE495FBA65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9602913" y="384880"/>
            <a:ext cx="2077912" cy="1729670"/>
          </a:xfrm>
          <a:prstGeom prst="rect">
            <a:avLst/>
          </a:prstGeom>
        </p:spPr>
      </p:pic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9D991CD-1688-434C-BCE6-0686FE2D986A}"/>
              </a:ext>
            </a:extLst>
          </p:cNvPr>
          <p:cNvSpPr/>
          <p:nvPr userDrawn="1"/>
        </p:nvSpPr>
        <p:spPr>
          <a:xfrm flipH="1">
            <a:off x="11277600" y="5943600"/>
            <a:ext cx="914400" cy="9144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8467D6B-326F-465F-AC3B-9B9B6BD01C56}"/>
              </a:ext>
            </a:extLst>
          </p:cNvPr>
          <p:cNvCxnSpPr/>
          <p:nvPr userDrawn="1"/>
        </p:nvCxnSpPr>
        <p:spPr>
          <a:xfrm>
            <a:off x="1078586" y="4011977"/>
            <a:ext cx="905789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BD3E1C3A-A627-49BE-80D8-1FD41362AAD4}"/>
              </a:ext>
            </a:extLst>
          </p:cNvPr>
          <p:cNvSpPr/>
          <p:nvPr userDrawn="1"/>
        </p:nvSpPr>
        <p:spPr>
          <a:xfrm rot="5400000">
            <a:off x="515007" y="2741844"/>
            <a:ext cx="294866" cy="16895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4376F-86D5-4C2E-A329-D63E4383D094}"/>
              </a:ext>
            </a:extLst>
          </p:cNvPr>
          <p:cNvSpPr/>
          <p:nvPr userDrawn="1"/>
        </p:nvSpPr>
        <p:spPr>
          <a:xfrm>
            <a:off x="0" y="0"/>
            <a:ext cx="58419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201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C58636-6A81-4978-953E-98CD209343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664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C58636-6A81-4978-953E-98CD20934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230581-46A0-8E41-8831-59691550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22" y="297806"/>
            <a:ext cx="11500757" cy="443198"/>
          </a:xfrm>
        </p:spPr>
        <p:txBody>
          <a:bodyPr vert="horz" wrap="square" lIns="0" tIns="0" rIns="0" bIns="0" anchor="t">
            <a:spAutoFit/>
          </a:bodyPr>
          <a:lstStyle>
            <a:lvl1pPr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449F6-6CE9-D047-AF06-BFE8AA5BD3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22" y="948524"/>
            <a:ext cx="11500757" cy="4483625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defRPr sz="2400"/>
            </a:lvl1pPr>
            <a:lvl2pPr marL="685800" indent="-228600">
              <a:lnSpc>
                <a:spcPct val="100000"/>
              </a:lnSpc>
              <a:buFont typeface="Raleway" panose="020B0503030101060003" pitchFamily="34" charset="0"/>
              <a:buChar char="–"/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D7962-F6E3-1D48-9721-44CED0E6C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7257" y="6446579"/>
            <a:ext cx="409122" cy="184666"/>
          </a:xfrm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264AAFE-FC82-FA4D-BB8E-6913473277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4F4E6FF6-F736-49F5-B649-71DCA0E811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302078" y="6066207"/>
            <a:ext cx="874022" cy="727542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30B26E2-42ED-4B79-AEF0-25C50A0A9570}"/>
              </a:ext>
            </a:extLst>
          </p:cNvPr>
          <p:cNvSpPr/>
          <p:nvPr userDrawn="1"/>
        </p:nvSpPr>
        <p:spPr>
          <a:xfrm>
            <a:off x="0" y="0"/>
            <a:ext cx="12192000" cy="725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497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C58636-6A81-4978-953E-98CD209343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02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C58636-6A81-4978-953E-98CD209343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230581-46A0-8E41-8831-59691550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22" y="741005"/>
            <a:ext cx="11500757" cy="443198"/>
          </a:xfrm>
        </p:spPr>
        <p:txBody>
          <a:bodyPr vert="horz" wrap="square" lIns="0" tIns="0" rIns="0" bIns="0" anchor="b">
            <a:spAutoFit/>
          </a:bodyPr>
          <a:lstStyle>
            <a:lvl1pPr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A449F6-6CE9-D047-AF06-BFE8AA5BD3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22" y="1490790"/>
            <a:ext cx="11500757" cy="4372981"/>
          </a:xfr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defRPr sz="1600"/>
            </a:lvl1pPr>
            <a:lvl2pPr marL="685800" indent="-228600">
              <a:lnSpc>
                <a:spcPct val="100000"/>
              </a:lnSpc>
              <a:buFont typeface="Raleway" panose="020B0503030101060003" pitchFamily="34" charset="0"/>
              <a:buChar char="–"/>
              <a:defRPr sz="1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BD7962-F6E3-1D48-9721-44CED0E6C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7257" y="6446579"/>
            <a:ext cx="409122" cy="184666"/>
          </a:xfrm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264AAFE-FC82-FA4D-BB8E-6913473277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4F4E6FF6-F736-49F5-B649-71DCA0E811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302078" y="5993637"/>
            <a:ext cx="874022" cy="727542"/>
          </a:xfrm>
          <a:prstGeom prst="rect">
            <a:avLst/>
          </a:prstGeom>
        </p:spPr>
      </p:pic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ED36518B-E4BC-41C6-858D-D01D16EC218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22627" y="6492746"/>
            <a:ext cx="9506630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Source: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B05D283-AC66-4A99-8E60-E5668D44F86F}"/>
              </a:ext>
            </a:extLst>
          </p:cNvPr>
          <p:cNvGrpSpPr/>
          <p:nvPr userDrawn="1"/>
        </p:nvGrpSpPr>
        <p:grpSpPr>
          <a:xfrm>
            <a:off x="0" y="6785429"/>
            <a:ext cx="12192000" cy="72571"/>
            <a:chOff x="0" y="6785429"/>
            <a:chExt cx="11959772" cy="725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30B26E2-42ED-4B79-AEF0-25C50A0A9570}"/>
                </a:ext>
              </a:extLst>
            </p:cNvPr>
            <p:cNvSpPr/>
            <p:nvPr userDrawn="1"/>
          </p:nvSpPr>
          <p:spPr>
            <a:xfrm>
              <a:off x="0" y="6785429"/>
              <a:ext cx="5979886" cy="7257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310BC17-7970-41EC-BB71-617429A06F33}"/>
                </a:ext>
              </a:extLst>
            </p:cNvPr>
            <p:cNvSpPr/>
            <p:nvPr userDrawn="1"/>
          </p:nvSpPr>
          <p:spPr>
            <a:xfrm>
              <a:off x="5979886" y="6785429"/>
              <a:ext cx="5979886" cy="725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F731FFD-9871-4F14-B01E-30694A5E2693}"/>
              </a:ext>
            </a:extLst>
          </p:cNvPr>
          <p:cNvCxnSpPr>
            <a:cxnSpLocks/>
          </p:cNvCxnSpPr>
          <p:nvPr userDrawn="1"/>
        </p:nvCxnSpPr>
        <p:spPr>
          <a:xfrm>
            <a:off x="345622" y="1264033"/>
            <a:ext cx="11500757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3942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B8C50AE-9528-49AB-A94B-17BF50992C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095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B8C50AE-9528-49AB-A94B-17BF50992C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CAE64FD-BFE2-4394-9086-A67181607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7257" y="6446579"/>
            <a:ext cx="409122" cy="184666"/>
          </a:xfrm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264AAFE-FC82-FA4D-BB8E-6913473277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3C5B8B6-D788-4B06-9B9D-14EB98A2ED3A}"/>
              </a:ext>
            </a:extLst>
          </p:cNvPr>
          <p:cNvSpPr/>
          <p:nvPr userDrawn="1"/>
        </p:nvSpPr>
        <p:spPr>
          <a:xfrm>
            <a:off x="0" y="0"/>
            <a:ext cx="1248228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1321AD-4F6A-2049-B0DA-A4779C3EB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0686" y="3125890"/>
            <a:ext cx="7750628" cy="6093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b="1"/>
            </a:lvl1pPr>
          </a:lstStyle>
          <a:p>
            <a:r>
              <a:rPr lang="en-US" dirty="0"/>
              <a:t>Divider slid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375A579-E285-4EED-8BED-D8CFC4FC5304}"/>
              </a:ext>
            </a:extLst>
          </p:cNvPr>
          <p:cNvSpPr/>
          <p:nvPr userDrawn="1"/>
        </p:nvSpPr>
        <p:spPr>
          <a:xfrm>
            <a:off x="638629" y="2806475"/>
            <a:ext cx="1248228" cy="12482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E654BDB-B1AE-4D8B-8B9C-9EE532222F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0728" y="3098191"/>
            <a:ext cx="444032" cy="66479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683320C6-C095-45E1-B744-8B95CA42EB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9602913" y="384880"/>
            <a:ext cx="2077912" cy="172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069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9E991164-D5EC-4AC4-BCD7-CE501E32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129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9E991164-D5EC-4AC4-BCD7-CE501E32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C19AAD8F-20A6-452C-8B60-4005FE6870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weave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F69647-0DE3-4C00-B736-9F5E72CC1418}"/>
              </a:ext>
            </a:extLst>
          </p:cNvPr>
          <p:cNvSpPr/>
          <p:nvPr userDrawn="1"/>
        </p:nvSpPr>
        <p:spPr>
          <a:xfrm>
            <a:off x="0" y="2356409"/>
            <a:ext cx="5664200" cy="222008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CEA4FE-8065-E848-8966-CBC640869460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60136" y="2912451"/>
            <a:ext cx="4925783" cy="1107996"/>
          </a:xfrm>
        </p:spPr>
        <p:txBody>
          <a:bodyPr vert="horz" wrap="square" lIns="0" tIns="0" rIns="0" bIns="0" anchor="ctr">
            <a:spAutoFit/>
          </a:bodyPr>
          <a:lstStyle>
            <a:lvl1pPr algn="l"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C4F7706-AA11-46B1-8568-BB825947D043}"/>
              </a:ext>
            </a:extLst>
          </p:cNvPr>
          <p:cNvSpPr/>
          <p:nvPr userDrawn="1"/>
        </p:nvSpPr>
        <p:spPr>
          <a:xfrm>
            <a:off x="0" y="2356409"/>
            <a:ext cx="145143" cy="22200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98036CC2-4D32-4823-95B3-6CB9152B7D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9602913" y="384880"/>
            <a:ext cx="2077912" cy="172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05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9E991164-D5EC-4AC4-BCD7-CE501E32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57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9E991164-D5EC-4AC4-BCD7-CE501E32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C19AAD8F-20A6-452C-8B60-4005FE6870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pattFill prst="weave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AE6ABA-D110-4087-B081-CB001C08B9E2}"/>
              </a:ext>
            </a:extLst>
          </p:cNvPr>
          <p:cNvSpPr/>
          <p:nvPr userDrawn="1"/>
        </p:nvSpPr>
        <p:spPr>
          <a:xfrm rot="10800000" flipV="1">
            <a:off x="0" y="3406140"/>
            <a:ext cx="12192000" cy="8273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FA252A10-306D-4155-B6FA-DE495FBA65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5350605" y="677379"/>
            <a:ext cx="1563362" cy="130135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6F69647-0DE3-4C00-B736-9F5E72CC1418}"/>
              </a:ext>
            </a:extLst>
          </p:cNvPr>
          <p:cNvSpPr/>
          <p:nvPr userDrawn="1"/>
        </p:nvSpPr>
        <p:spPr>
          <a:xfrm>
            <a:off x="1375229" y="2109666"/>
            <a:ext cx="9514114" cy="34202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CEA4FE-8065-E848-8966-CBC64086946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683658" y="2388709"/>
            <a:ext cx="8897256" cy="553998"/>
          </a:xfrm>
        </p:spPr>
        <p:txBody>
          <a:bodyPr vert="horz" wrap="square" lIns="0" tIns="0" rIns="0" bIns="0" anchor="ctr">
            <a:spAutoFit/>
          </a:bodyPr>
          <a:lstStyle>
            <a:lvl1pPr algn="ctr">
              <a:defRPr sz="4000" b="1"/>
            </a:lvl1pPr>
          </a:lstStyle>
          <a:p>
            <a:r>
              <a:rPr lang="en-US" dirty="0"/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2189424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9E991164-D5EC-4AC4-BCD7-CE501E327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9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9E991164-D5EC-4AC4-BCD7-CE501E327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78A61999-75DC-49BA-8725-7311359C7306}"/>
              </a:ext>
            </a:extLst>
          </p:cNvPr>
          <p:cNvSpPr/>
          <p:nvPr userDrawn="1"/>
        </p:nvSpPr>
        <p:spPr>
          <a:xfrm flipH="1">
            <a:off x="11277600" y="5854700"/>
            <a:ext cx="914400" cy="9144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CEA4FE-8065-E848-8966-CBC6408694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7211" y="2870908"/>
            <a:ext cx="5892800" cy="1329595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FA252A10-306D-4155-B6FA-DE495FBA65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03" r="16203"/>
          <a:stretch/>
        </p:blipFill>
        <p:spPr>
          <a:xfrm>
            <a:off x="1507211" y="927828"/>
            <a:ext cx="2077912" cy="1729670"/>
          </a:xfrm>
          <a:prstGeom prst="rect">
            <a:avLst/>
          </a:prstGeom>
        </p:spPr>
      </p:pic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59D991CD-1688-434C-BCE6-0686FE2D986A}"/>
              </a:ext>
            </a:extLst>
          </p:cNvPr>
          <p:cNvSpPr/>
          <p:nvPr userDrawn="1"/>
        </p:nvSpPr>
        <p:spPr>
          <a:xfrm flipH="1">
            <a:off x="11277600" y="5943600"/>
            <a:ext cx="914400" cy="9144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592129D-4155-4FC2-8953-950B35903C73}"/>
              </a:ext>
            </a:extLst>
          </p:cNvPr>
          <p:cNvCxnSpPr>
            <a:cxnSpLocks/>
          </p:cNvCxnSpPr>
          <p:nvPr userDrawn="1"/>
        </p:nvCxnSpPr>
        <p:spPr>
          <a:xfrm>
            <a:off x="584200" y="0"/>
            <a:ext cx="0" cy="685800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BD3E1C3A-A627-49BE-80D8-1FD41362AAD4}"/>
              </a:ext>
            </a:extLst>
          </p:cNvPr>
          <p:cNvSpPr/>
          <p:nvPr userDrawn="1"/>
        </p:nvSpPr>
        <p:spPr>
          <a:xfrm rot="5400000">
            <a:off x="317499" y="2133169"/>
            <a:ext cx="791030" cy="257628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582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6CE356-62D4-4546-9654-4D5E645A7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41884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81" imgH="381" progId="TCLayout.ActiveDocument.1">
                  <p:embed/>
                </p:oleObj>
              </mc:Choice>
              <mc:Fallback>
                <p:oleObj name="think-cell Slide" r:id="rId13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6CE356-62D4-4546-9654-4D5E645A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DE197E-D518-1E45-B592-3743C8F91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93490A-1EB5-5842-8FD3-01BC75B65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A178F2-2490-1844-B54B-961B5CD66A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786A58-D5CA-1B49-B359-A7A85E34A2AD}" type="datetimeFigureOut">
              <a:t>1/16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A15863-B623-3C41-BE21-8F61B92B9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504EE9-5A5C-DB48-A533-66AD4A15B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64AAFE-FC82-FA4D-BB8E-6913473277B8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3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1" r:id="rId3"/>
    <p:sldLayoutId id="2147483650" r:id="rId4"/>
    <p:sldLayoutId id="2147483662" r:id="rId5"/>
    <p:sldLayoutId id="2147483654" r:id="rId6"/>
    <p:sldLayoutId id="2147483663" r:id="rId7"/>
    <p:sldLayoutId id="2147483664" r:id="rId8"/>
    <p:sldLayoutId id="2147483665" r:id="rId9"/>
    <p:sldLayoutId id="2147483655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4747F7-9E33-4A64-B940-BBF7A5BA6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684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A4747F7-9E33-4A64-B940-BBF7A5BA6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41B9CB2-C138-4046-AFD6-7CEAF25540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485" y="3170870"/>
            <a:ext cx="7383084" cy="553998"/>
          </a:xfrm>
        </p:spPr>
        <p:txBody>
          <a:bodyPr vert="horz"/>
          <a:lstStyle/>
          <a:p>
            <a:r>
              <a:rPr lang="en-US" sz="4000" dirty="0"/>
              <a:t>Zero-fare Study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C87B282-3B49-4733-BDB5-A6606B9ABE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0485" y="4198923"/>
            <a:ext cx="5892800" cy="682238"/>
          </a:xfrm>
        </p:spPr>
        <p:txBody>
          <a:bodyPr/>
          <a:lstStyle/>
          <a:p>
            <a:r>
              <a:rPr lang="en-US" dirty="0"/>
              <a:t>GMT Board of Commissioners</a:t>
            </a:r>
          </a:p>
          <a:p>
            <a:r>
              <a:rPr lang="en-US" dirty="0"/>
              <a:t>January 17, 2023</a:t>
            </a:r>
          </a:p>
        </p:txBody>
      </p:sp>
    </p:spTree>
    <p:extLst>
      <p:ext uri="{BB962C8B-B14F-4D97-AF65-F5344CB8AC3E}">
        <p14:creationId xmlns:p14="http://schemas.microsoft.com/office/powerpoint/2010/main" val="2470874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6EDC1-4A6E-E3D6-82C6-DA916BC02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 for GMT Urban Local Rout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02D4422-B5F9-4ABA-E556-42EFF522C35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6712752"/>
              </p:ext>
            </p:extLst>
          </p:nvPr>
        </p:nvGraphicFramePr>
        <p:xfrm>
          <a:off x="345622" y="965771"/>
          <a:ext cx="10997048" cy="49110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45136">
                  <a:extLst>
                    <a:ext uri="{9D8B030D-6E8A-4147-A177-3AD203B41FA5}">
                      <a16:colId xmlns:a16="http://schemas.microsoft.com/office/drawing/2014/main" val="2422292095"/>
                    </a:ext>
                  </a:extLst>
                </a:gridCol>
                <a:gridCol w="1352606">
                  <a:extLst>
                    <a:ext uri="{9D8B030D-6E8A-4147-A177-3AD203B41FA5}">
                      <a16:colId xmlns:a16="http://schemas.microsoft.com/office/drawing/2014/main" val="2145827667"/>
                    </a:ext>
                  </a:extLst>
                </a:gridCol>
                <a:gridCol w="1352606">
                  <a:extLst>
                    <a:ext uri="{9D8B030D-6E8A-4147-A177-3AD203B41FA5}">
                      <a16:colId xmlns:a16="http://schemas.microsoft.com/office/drawing/2014/main" val="3643305539"/>
                    </a:ext>
                  </a:extLst>
                </a:gridCol>
                <a:gridCol w="1352606">
                  <a:extLst>
                    <a:ext uri="{9D8B030D-6E8A-4147-A177-3AD203B41FA5}">
                      <a16:colId xmlns:a16="http://schemas.microsoft.com/office/drawing/2014/main" val="2200392052"/>
                    </a:ext>
                  </a:extLst>
                </a:gridCol>
                <a:gridCol w="1352606">
                  <a:extLst>
                    <a:ext uri="{9D8B030D-6E8A-4147-A177-3AD203B41FA5}">
                      <a16:colId xmlns:a16="http://schemas.microsoft.com/office/drawing/2014/main" val="2179103541"/>
                    </a:ext>
                  </a:extLst>
                </a:gridCol>
                <a:gridCol w="1352606">
                  <a:extLst>
                    <a:ext uri="{9D8B030D-6E8A-4147-A177-3AD203B41FA5}">
                      <a16:colId xmlns:a16="http://schemas.microsoft.com/office/drawing/2014/main" val="2236154885"/>
                    </a:ext>
                  </a:extLst>
                </a:gridCol>
                <a:gridCol w="1388882">
                  <a:extLst>
                    <a:ext uri="{9D8B030D-6E8A-4147-A177-3AD203B41FA5}">
                      <a16:colId xmlns:a16="http://schemas.microsoft.com/office/drawing/2014/main" val="3574957117"/>
                    </a:ext>
                  </a:extLst>
                </a:gridCol>
              </a:tblGrid>
              <a:tr h="68488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Rou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2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Actua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3 Projected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4 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No Far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4 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With Far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Lost 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Rider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oregone Revenu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34302369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City Loop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7,46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6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66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5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5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49155278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Airpor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69,50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08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2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9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9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9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69519837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Essex Junctio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69,906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0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39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0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38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16098501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Neighborhood Special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1,406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2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8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20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5028487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North Avenu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28,747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6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78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2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5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21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22768661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Pine Street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79,41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9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0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9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8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9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15705190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Riverside/Winooski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47,22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8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9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5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149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17184624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Shelburne Road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48,459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49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6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1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50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20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81310099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Williston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00,511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90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51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416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98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396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98745863"/>
                  </a:ext>
                </a:extLst>
              </a:tr>
              <a:tr h="380494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Williston/Essex Cen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7,168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9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0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29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24454039"/>
                  </a:ext>
                </a:extLst>
              </a:tr>
              <a:tr h="42122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659,79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920,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53,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723,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,628,000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690182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77672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9EA75-CC2A-5A96-45E1-7A484D875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tail for GMT Urban Commuter Rout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FD718C0-75AB-181A-7762-38608335E36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8984875"/>
              </p:ext>
            </p:extLst>
          </p:nvPr>
        </p:nvGraphicFramePr>
        <p:xfrm>
          <a:off x="345622" y="1376737"/>
          <a:ext cx="10894306" cy="39912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18555">
                  <a:extLst>
                    <a:ext uri="{9D8B030D-6E8A-4147-A177-3AD203B41FA5}">
                      <a16:colId xmlns:a16="http://schemas.microsoft.com/office/drawing/2014/main" val="378224292"/>
                    </a:ext>
                  </a:extLst>
                </a:gridCol>
                <a:gridCol w="1339969">
                  <a:extLst>
                    <a:ext uri="{9D8B030D-6E8A-4147-A177-3AD203B41FA5}">
                      <a16:colId xmlns:a16="http://schemas.microsoft.com/office/drawing/2014/main" val="1921202022"/>
                    </a:ext>
                  </a:extLst>
                </a:gridCol>
                <a:gridCol w="1339969">
                  <a:extLst>
                    <a:ext uri="{9D8B030D-6E8A-4147-A177-3AD203B41FA5}">
                      <a16:colId xmlns:a16="http://schemas.microsoft.com/office/drawing/2014/main" val="2615599497"/>
                    </a:ext>
                  </a:extLst>
                </a:gridCol>
                <a:gridCol w="1339969">
                  <a:extLst>
                    <a:ext uri="{9D8B030D-6E8A-4147-A177-3AD203B41FA5}">
                      <a16:colId xmlns:a16="http://schemas.microsoft.com/office/drawing/2014/main" val="3581623760"/>
                    </a:ext>
                  </a:extLst>
                </a:gridCol>
                <a:gridCol w="1339969">
                  <a:extLst>
                    <a:ext uri="{9D8B030D-6E8A-4147-A177-3AD203B41FA5}">
                      <a16:colId xmlns:a16="http://schemas.microsoft.com/office/drawing/2014/main" val="3615999087"/>
                    </a:ext>
                  </a:extLst>
                </a:gridCol>
                <a:gridCol w="1339969">
                  <a:extLst>
                    <a:ext uri="{9D8B030D-6E8A-4147-A177-3AD203B41FA5}">
                      <a16:colId xmlns:a16="http://schemas.microsoft.com/office/drawing/2014/main" val="1678969565"/>
                    </a:ext>
                  </a:extLst>
                </a:gridCol>
                <a:gridCol w="1375906">
                  <a:extLst>
                    <a:ext uri="{9D8B030D-6E8A-4147-A177-3AD203B41FA5}">
                      <a16:colId xmlns:a16="http://schemas.microsoft.com/office/drawing/2014/main" val="2289975779"/>
                    </a:ext>
                  </a:extLst>
                </a:gridCol>
              </a:tblGrid>
              <a:tr h="636998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Rout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2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Actual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3 Projected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4 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No Far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Y24 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With Far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Lost </a:t>
                      </a:r>
                    </a:p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Rider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Foregone Revenu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02379029"/>
                  </a:ext>
                </a:extLst>
              </a:tr>
              <a:tr h="55903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116 Commu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,78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,6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2,7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37003530"/>
                  </a:ext>
                </a:extLst>
              </a:tr>
              <a:tr h="55903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Jeffersonville Commu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5,729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8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1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50476636"/>
                  </a:ext>
                </a:extLst>
              </a:tr>
              <a:tr h="55903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Milton Commuter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1,39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6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23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65971973"/>
                  </a:ext>
                </a:extLst>
              </a:tr>
              <a:tr h="55903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Montpelier LINK Expres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39,60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62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72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6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7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205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82522054"/>
                  </a:ext>
                </a:extLst>
              </a:tr>
              <a:tr h="55903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St. Albans LINK Expres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7,172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2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4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2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1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u="none" strike="noStrike">
                          <a:effectLst/>
                        </a:rPr>
                        <a:t>$46,00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90274322"/>
                  </a:ext>
                </a:extLst>
              </a:tr>
              <a:tr h="55903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,67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,6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3,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1,7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800" b="1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3,000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86494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26887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FC1F6-C161-DE25-B4A8-CB9E84F1D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s of Fare Coll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47D03F-8651-2E23-9E98-35ABFF47C1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GMT estimates annual urban cost of $36,000 exclusive of staff time</a:t>
            </a:r>
          </a:p>
          <a:p>
            <a:r>
              <a:rPr lang="en-US"/>
              <a:t>Rural providers collectively (MVRTD, SEVT, TVT, GMCN, GMT) estimate annual cost of $150,000 (29% of total revenue collected in FY19)</a:t>
            </a:r>
          </a:p>
          <a:p>
            <a:r>
              <a:rPr lang="en-US"/>
              <a:t>Most providers indicated no near-term capital cost (adequate fareboxes available), but SEVT estimates $37,000 near-term cost</a:t>
            </a:r>
          </a:p>
          <a:p>
            <a:r>
              <a:rPr lang="en-US"/>
              <a:t>Impacts on revenue</a:t>
            </a:r>
          </a:p>
          <a:p>
            <a:pPr lvl="1"/>
            <a:r>
              <a:rPr lang="en-US"/>
              <a:t>GMT Urban net revenue of $1.88 million</a:t>
            </a:r>
          </a:p>
          <a:p>
            <a:pPr lvl="1"/>
            <a:r>
              <a:rPr lang="en-US"/>
              <a:t>Rural net revenue of $303,000</a:t>
            </a:r>
          </a:p>
        </p:txBody>
      </p:sp>
    </p:spTree>
    <p:extLst>
      <p:ext uri="{BB962C8B-B14F-4D97-AF65-F5344CB8AC3E}">
        <p14:creationId xmlns:p14="http://schemas.microsoft.com/office/powerpoint/2010/main" val="22439686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3DAC9-970A-D526-1952-CD4378C908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per Tr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FFDD81-701C-9030-7471-C1F3670FA9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In rural areas, $303,000 in net lost fare revenue results in 145,000 more trips</a:t>
            </a:r>
          </a:p>
          <a:p>
            <a:pPr lvl="1"/>
            <a:r>
              <a:rPr lang="en-US"/>
              <a:t>Effective cost per trip of $2.09</a:t>
            </a:r>
          </a:p>
          <a:p>
            <a:pPr lvl="1"/>
            <a:r>
              <a:rPr lang="en-US"/>
              <a:t>Compares very favorably to cost of service for any route in Vermont, even urban routes</a:t>
            </a:r>
          </a:p>
          <a:p>
            <a:r>
              <a:rPr lang="en-US"/>
              <a:t>In the urban area, $1.88 million in net lost fare revenue results in 340,000 more trips</a:t>
            </a:r>
          </a:p>
          <a:p>
            <a:pPr lvl="1"/>
            <a:r>
              <a:rPr lang="en-US"/>
              <a:t>Effective cost per trip of $5.55</a:t>
            </a:r>
          </a:p>
          <a:p>
            <a:pPr lvl="1"/>
            <a:r>
              <a:rPr lang="en-US"/>
              <a:t>Similar to the average cost per trip for urban routes</a:t>
            </a:r>
          </a:p>
        </p:txBody>
      </p:sp>
    </p:spTree>
    <p:extLst>
      <p:ext uri="{BB962C8B-B14F-4D97-AF65-F5344CB8AC3E}">
        <p14:creationId xmlns:p14="http://schemas.microsoft.com/office/powerpoint/2010/main" val="1339253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AEC96-A5FD-5F26-C04C-5C6C21F93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A and NEMT Imp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C13E81-8D36-B4D8-5725-2FA16480C2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ADA ridership low outside of Chittenden County and still below FY20</a:t>
            </a:r>
          </a:p>
          <a:p>
            <a:r>
              <a:rPr lang="en-US"/>
              <a:t>ADA trips in Chittenden have surged; nearly back to pre-pandemic levels</a:t>
            </a:r>
          </a:p>
          <a:p>
            <a:pPr lvl="1"/>
            <a:r>
              <a:rPr lang="en-US"/>
              <a:t>Lack of $3 fare likely resulting in more trips</a:t>
            </a:r>
          </a:p>
          <a:p>
            <a:pPr lvl="1"/>
            <a:r>
              <a:rPr lang="en-US"/>
              <a:t>Fewer riders had other travel options</a:t>
            </a:r>
          </a:p>
          <a:p>
            <a:r>
              <a:rPr lang="en-US"/>
              <a:t>FY24 foregone fare revenue for SSTA would be about $140,000</a:t>
            </a:r>
          </a:p>
          <a:p>
            <a:r>
              <a:rPr lang="en-US"/>
              <a:t>Total for others (MVRTD and SEVT) likely around $6,000</a:t>
            </a:r>
          </a:p>
          <a:p>
            <a:r>
              <a:rPr lang="en-US"/>
              <a:t>Lack of fare is contributing factor to loss of NEMT “members”</a:t>
            </a:r>
          </a:p>
          <a:p>
            <a:pPr lvl="1"/>
            <a:r>
              <a:rPr lang="en-US"/>
              <a:t>Medicaid recipient who accomplishes all trips by (fare-free) bus will drop off roster after 52 weeks</a:t>
            </a:r>
          </a:p>
          <a:p>
            <a:pPr lvl="1"/>
            <a:r>
              <a:rPr lang="en-US"/>
              <a:t>Drop in membership figures causing financial stress for VPTA contract</a:t>
            </a:r>
          </a:p>
        </p:txBody>
      </p:sp>
    </p:spTree>
    <p:extLst>
      <p:ext uri="{BB962C8B-B14F-4D97-AF65-F5344CB8AC3E}">
        <p14:creationId xmlns:p14="http://schemas.microsoft.com/office/powerpoint/2010/main" val="3498917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06FCA-FE60-5085-B06C-38ED1F5342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B20F1-3FA0-5B2A-CC8A-F9F68D9210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trong case for continuing zero-fare service outside of the urban area</a:t>
            </a:r>
          </a:p>
          <a:p>
            <a:pPr lvl="1"/>
            <a:r>
              <a:rPr lang="en-US"/>
              <a:t>Very low cost per trip</a:t>
            </a:r>
          </a:p>
          <a:p>
            <a:pPr lvl="1"/>
            <a:r>
              <a:rPr lang="en-US"/>
              <a:t>Impact on NEMT finances can be mitigated through higher PMPW rate </a:t>
            </a:r>
          </a:p>
          <a:p>
            <a:r>
              <a:rPr lang="en-US"/>
              <a:t>Less justification for zero-fare service in Chittenden County</a:t>
            </a:r>
          </a:p>
          <a:p>
            <a:pPr lvl="1"/>
            <a:r>
              <a:rPr lang="en-US"/>
              <a:t>Very large budget hole to fill ($1.9 million for fixed routes)</a:t>
            </a:r>
          </a:p>
          <a:p>
            <a:pPr lvl="1"/>
            <a:r>
              <a:rPr lang="en-US"/>
              <a:t>Cost per trip is much higher, similar to urban average cost per trip</a:t>
            </a:r>
          </a:p>
          <a:p>
            <a:pPr lvl="1"/>
            <a:r>
              <a:rPr lang="en-US"/>
              <a:t>ADA implications are significant</a:t>
            </a:r>
          </a:p>
          <a:p>
            <a:pPr lvl="2"/>
            <a:r>
              <a:rPr lang="en-US"/>
              <a:t>Additional lost revenue</a:t>
            </a:r>
          </a:p>
          <a:p>
            <a:pPr lvl="2"/>
            <a:r>
              <a:rPr lang="en-US"/>
              <a:t>Increased demand (at $40 per trip)</a:t>
            </a:r>
          </a:p>
          <a:p>
            <a:r>
              <a:rPr lang="en-US"/>
              <a:t>Rural microtransit should be exempted from zero-fare policy</a:t>
            </a:r>
          </a:p>
          <a:p>
            <a:pPr lvl="1"/>
            <a:r>
              <a:rPr lang="en-US"/>
              <a:t>Fare is only effective tool to reduce no-shows and late cancellations</a:t>
            </a:r>
          </a:p>
        </p:txBody>
      </p:sp>
    </p:spTree>
    <p:extLst>
      <p:ext uri="{BB962C8B-B14F-4D97-AF65-F5344CB8AC3E}">
        <p14:creationId xmlns:p14="http://schemas.microsoft.com/office/powerpoint/2010/main" val="1582493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30C461-9525-4EDE-A0E0-183EAA865D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94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30C461-9525-4EDE-A0E0-183EAA865D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D17432-0889-5049-B7E4-D950B948F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22" y="297806"/>
            <a:ext cx="11500757" cy="443198"/>
          </a:xfrm>
        </p:spPr>
        <p:txBody>
          <a:bodyPr vert="horz"/>
          <a:lstStyle/>
          <a:p>
            <a:r>
              <a:rPr lang="en-US" dirty="0"/>
              <a:t>Zero-Fare Study Scop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99D7A9C-0BF3-4629-81B1-630DB43C94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22" y="948524"/>
            <a:ext cx="11500757" cy="4483625"/>
          </a:xfrm>
        </p:spPr>
        <p:txBody>
          <a:bodyPr/>
          <a:lstStyle/>
          <a:p>
            <a:r>
              <a:rPr lang="en-US"/>
              <a:t>Assess impacts of extending zero-fare policy through SFY 2024</a:t>
            </a:r>
          </a:p>
          <a:p>
            <a:r>
              <a:rPr lang="en-US"/>
              <a:t>Study ridership trends from FY20 through Q1 FY23</a:t>
            </a:r>
          </a:p>
          <a:p>
            <a:pPr lvl="1"/>
            <a:r>
              <a:rPr lang="en-US" dirty="0"/>
              <a:t>By county</a:t>
            </a:r>
          </a:p>
          <a:p>
            <a:pPr lvl="1"/>
            <a:r>
              <a:rPr lang="en-US" dirty="0"/>
              <a:t>By type of service</a:t>
            </a:r>
          </a:p>
          <a:p>
            <a:r>
              <a:rPr lang="en-US" dirty="0"/>
              <a:t>Forecast ridership and revenue impacts</a:t>
            </a:r>
          </a:p>
          <a:p>
            <a:r>
              <a:rPr lang="en-US" dirty="0"/>
              <a:t>Consider impacts on ADA and NEMT service and finances</a:t>
            </a:r>
          </a:p>
        </p:txBody>
      </p:sp>
    </p:spTree>
    <p:extLst>
      <p:ext uri="{BB962C8B-B14F-4D97-AF65-F5344CB8AC3E}">
        <p14:creationId xmlns:p14="http://schemas.microsoft.com/office/powerpoint/2010/main" val="1803472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07474-45FA-F1B4-87C9-D131A2285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idership by County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C727493-5A13-1EA8-3EC8-2981C782F6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4709162"/>
              </p:ext>
            </p:extLst>
          </p:nvPr>
        </p:nvGraphicFramePr>
        <p:xfrm>
          <a:off x="346076" y="947738"/>
          <a:ext cx="5006760" cy="4918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CEDA59C-479B-6E8A-E39B-819F67FBD0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7468594"/>
              </p:ext>
            </p:extLst>
          </p:nvPr>
        </p:nvGraphicFramePr>
        <p:xfrm>
          <a:off x="5445124" y="947739"/>
          <a:ext cx="6400800" cy="4918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7620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FDD5B-B747-2F4D-A6E5-4AF2E68F3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idership by Type of Servi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0D185EE-B030-6E2E-B4AA-4BF0CECB5A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0732279"/>
              </p:ext>
            </p:extLst>
          </p:nvPr>
        </p:nvGraphicFramePr>
        <p:xfrm>
          <a:off x="346075" y="947738"/>
          <a:ext cx="11499850" cy="5052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1709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BA4949-42E6-67E3-9F1D-D89E6ED8E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arterly Ridership Index for Local and Commuter Rout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483FD12-8CC5-3DC8-8AE1-F632E3CB8E5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8582067"/>
              </p:ext>
            </p:extLst>
          </p:nvPr>
        </p:nvGraphicFramePr>
        <p:xfrm>
          <a:off x="346075" y="947738"/>
          <a:ext cx="11499850" cy="4918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62426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CE89C-8D50-06FF-5563-5222716F4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arterly Index by Route Class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804C9838-1959-85E4-83B5-5A6B70D36CC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3300207"/>
              </p:ext>
            </p:extLst>
          </p:nvPr>
        </p:nvGraphicFramePr>
        <p:xfrm>
          <a:off x="346075" y="947738"/>
          <a:ext cx="11499850" cy="4949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34425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79AC8-1F90-F91B-FF4F-3A2081874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ecasting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D9A78C-BC09-C3BC-D33A-514A19F6A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22" y="948524"/>
            <a:ext cx="11500757" cy="5020761"/>
          </a:xfrm>
        </p:spPr>
        <p:txBody>
          <a:bodyPr/>
          <a:lstStyle/>
          <a:p>
            <a:r>
              <a:rPr lang="en-US"/>
              <a:t>Exclusions</a:t>
            </a:r>
          </a:p>
          <a:p>
            <a:pPr lvl="1"/>
            <a:r>
              <a:rPr lang="en-US"/>
              <a:t>All demand response (E&amp;D, NEMT) other than MyRide by GMT</a:t>
            </a:r>
          </a:p>
          <a:p>
            <a:pPr lvl="1"/>
            <a:r>
              <a:rPr lang="en-US"/>
              <a:t>All Tourism services (all fare free)</a:t>
            </a:r>
          </a:p>
          <a:p>
            <a:r>
              <a:rPr lang="en-US"/>
              <a:t>Forecast FY23 ridership based on Q1 results</a:t>
            </a:r>
          </a:p>
          <a:p>
            <a:pPr lvl="1"/>
            <a:r>
              <a:rPr lang="en-US"/>
              <a:t>Compare Q1 of FY23 to Q1 of FY22</a:t>
            </a:r>
          </a:p>
          <a:p>
            <a:pPr lvl="1"/>
            <a:r>
              <a:rPr lang="en-US"/>
              <a:t>Extrapolate results to other quarters</a:t>
            </a:r>
          </a:p>
          <a:p>
            <a:r>
              <a:rPr lang="en-US"/>
              <a:t>Forecast FY24 ridership based on FY23 forecast</a:t>
            </a:r>
          </a:p>
          <a:p>
            <a:pPr lvl="1"/>
            <a:r>
              <a:rPr lang="en-US"/>
              <a:t>Divide routes into fare-free and former fare</a:t>
            </a:r>
          </a:p>
          <a:p>
            <a:pPr lvl="1"/>
            <a:r>
              <a:rPr lang="en-US"/>
              <a:t>Compare ridership level to pre-pandemic</a:t>
            </a:r>
          </a:p>
          <a:p>
            <a:pPr lvl="1"/>
            <a:r>
              <a:rPr lang="en-US"/>
              <a:t>Apply variable growth rates</a:t>
            </a:r>
          </a:p>
          <a:p>
            <a:pPr lvl="2"/>
            <a:r>
              <a:rPr lang="en-US"/>
              <a:t>Higher growth rates for routes that were still well below pre-pandemic levels</a:t>
            </a:r>
          </a:p>
          <a:p>
            <a:pPr lvl="2"/>
            <a:r>
              <a:rPr lang="en-US"/>
              <a:t>Greater losses from reimposition of fares on routes with faster growth</a:t>
            </a:r>
          </a:p>
        </p:txBody>
      </p:sp>
    </p:spTree>
    <p:extLst>
      <p:ext uri="{BB962C8B-B14F-4D97-AF65-F5344CB8AC3E}">
        <p14:creationId xmlns:p14="http://schemas.microsoft.com/office/powerpoint/2010/main" val="1839672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3FBE65-E99B-9AE5-1EAC-284F2C481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idership Forecas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3C3F0AD-FE4F-2F93-5DAC-4DF1ED27B1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4649239"/>
              </p:ext>
            </p:extLst>
          </p:nvPr>
        </p:nvGraphicFramePr>
        <p:xfrm>
          <a:off x="842480" y="1109608"/>
          <a:ext cx="10736494" cy="43562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1035632270"/>
                    </a:ext>
                  </a:extLst>
                </a:gridCol>
                <a:gridCol w="1265166">
                  <a:extLst>
                    <a:ext uri="{9D8B030D-6E8A-4147-A177-3AD203B41FA5}">
                      <a16:colId xmlns:a16="http://schemas.microsoft.com/office/drawing/2014/main" val="3515917936"/>
                    </a:ext>
                  </a:extLst>
                </a:gridCol>
                <a:gridCol w="1603120">
                  <a:extLst>
                    <a:ext uri="{9D8B030D-6E8A-4147-A177-3AD203B41FA5}">
                      <a16:colId xmlns:a16="http://schemas.microsoft.com/office/drawing/2014/main" val="4162955567"/>
                    </a:ext>
                  </a:extLst>
                </a:gridCol>
                <a:gridCol w="1443600">
                  <a:extLst>
                    <a:ext uri="{9D8B030D-6E8A-4147-A177-3AD203B41FA5}">
                      <a16:colId xmlns:a16="http://schemas.microsoft.com/office/drawing/2014/main" val="3708146653"/>
                    </a:ext>
                  </a:extLst>
                </a:gridCol>
                <a:gridCol w="1763772">
                  <a:extLst>
                    <a:ext uri="{9D8B030D-6E8A-4147-A177-3AD203B41FA5}">
                      <a16:colId xmlns:a16="http://schemas.microsoft.com/office/drawing/2014/main" val="4266323157"/>
                    </a:ext>
                  </a:extLst>
                </a:gridCol>
                <a:gridCol w="1917636">
                  <a:extLst>
                    <a:ext uri="{9D8B030D-6E8A-4147-A177-3AD203B41FA5}">
                      <a16:colId xmlns:a16="http://schemas.microsoft.com/office/drawing/2014/main" val="1530911335"/>
                    </a:ext>
                  </a:extLst>
                </a:gridCol>
              </a:tblGrid>
              <a:tr h="717758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Agency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FY22 Actual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FY23 Forecast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FY24 with fares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FY24 without fares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Ridership loss from fares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33196719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T (always fare free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36,177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53,000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72,000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72,000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-  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11330775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MCN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73,013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08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03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15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13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79764904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MT-Rural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40,775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64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59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83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25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77533796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MT-Urban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,725,475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2,018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,826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2,167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340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47997781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VRTD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299,465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68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66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405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39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50035490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CT (always fare free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50,289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59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67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67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-  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07270265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EVT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94,405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01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267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20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53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56583198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VT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99,637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19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27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42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15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3838903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ewide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2,719,236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,288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,086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3,571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485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3338156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ewide Non-Urban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993,761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,271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,260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1,405,000 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+mn-lt"/>
                          <a:ea typeface="Garamond" panose="02020404030301010803" pitchFamily="18" charset="0"/>
                          <a:cs typeface="Times New Roman" panose="02020603050405020304" pitchFamily="18" charset="0"/>
                        </a:rPr>
                        <a:t> (145,000)</a:t>
                      </a:r>
                      <a:endParaRPr lang="en-US" sz="1800">
                        <a:effectLst/>
                        <a:latin typeface="+mn-lt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84371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7070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22C7A-8E24-9DCD-59CC-DFE1C4EF6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egone Fare Revenu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F18BB15-4EB8-4B6F-8826-6B60439E0F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80477895"/>
              </p:ext>
            </p:extLst>
          </p:nvPr>
        </p:nvGraphicFramePr>
        <p:xfrm>
          <a:off x="825356" y="1109607"/>
          <a:ext cx="5157627" cy="44281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72312">
                  <a:extLst>
                    <a:ext uri="{9D8B030D-6E8A-4147-A177-3AD203B41FA5}">
                      <a16:colId xmlns:a16="http://schemas.microsoft.com/office/drawing/2014/main" val="1336704175"/>
                    </a:ext>
                  </a:extLst>
                </a:gridCol>
                <a:gridCol w="2085315">
                  <a:extLst>
                    <a:ext uri="{9D8B030D-6E8A-4147-A177-3AD203B41FA5}">
                      <a16:colId xmlns:a16="http://schemas.microsoft.com/office/drawing/2014/main" val="1790843905"/>
                    </a:ext>
                  </a:extLst>
                </a:gridCol>
              </a:tblGrid>
              <a:tr h="6739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Agency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FY24 Fare Revenue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69777487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AT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94934259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GMCN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34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54198102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GMT-Rural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117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017823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GMT-Urban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1,920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02640051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MVRTD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131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47979764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RCT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5289241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SEVT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108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20548450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TVT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63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8972854"/>
                  </a:ext>
                </a:extLst>
              </a:tr>
              <a:tr h="376613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Statewide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2,371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5289348"/>
                  </a:ext>
                </a:extLst>
              </a:tr>
              <a:tr h="364657">
                <a:tc>
                  <a:txBody>
                    <a:bodyPr/>
                    <a:lstStyle/>
                    <a:p>
                      <a:pPr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Statewide Non-Urban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</a:rPr>
                        <a:t>$453,000</a:t>
                      </a:r>
                      <a:endParaRPr lang="en-US" sz="1800">
                        <a:effectLst/>
                        <a:latin typeface="Garamond" panose="02020404030301010803" pitchFamily="18" charset="0"/>
                        <a:ea typeface="Garamond" panose="02020404030301010803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38828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555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E7E6E6"/>
      </a:dk2>
      <a:lt2>
        <a:srgbClr val="7F7F7F"/>
      </a:lt2>
      <a:accent1>
        <a:srgbClr val="3B9345"/>
      </a:accent1>
      <a:accent2>
        <a:srgbClr val="231F20"/>
      </a:accent2>
      <a:accent3>
        <a:srgbClr val="D9D9D9"/>
      </a:accent3>
      <a:accent4>
        <a:srgbClr val="7F7F7F"/>
      </a:accent4>
      <a:accent5>
        <a:srgbClr val="595959"/>
      </a:accent5>
      <a:accent6>
        <a:srgbClr val="000000"/>
      </a:accent6>
      <a:hlink>
        <a:srgbClr val="0563C1"/>
      </a:hlink>
      <a:folHlink>
        <a:srgbClr val="954F72"/>
      </a:folHlink>
    </a:clrScheme>
    <a:fontScheme name="Custom 34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HC slides" id="{A74561ED-1714-A945-A672-645729DBF7DC}" vid="{33651DD7-AA6F-7D48-82DD-C89F0E97E7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59</TotalTime>
  <Words>928</Words>
  <Application>Microsoft Macintosh PowerPoint</Application>
  <PresentationFormat>Widescreen</PresentationFormat>
  <Paragraphs>304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Garamond</vt:lpstr>
      <vt:lpstr>Raleway</vt:lpstr>
      <vt:lpstr>Office Theme</vt:lpstr>
      <vt:lpstr>think-cell Slide</vt:lpstr>
      <vt:lpstr>Zero-fare Study </vt:lpstr>
      <vt:lpstr>Zero-Fare Study Scope</vt:lpstr>
      <vt:lpstr>Ridership by County</vt:lpstr>
      <vt:lpstr>Ridership by Type of Service</vt:lpstr>
      <vt:lpstr>Quarterly Ridership Index for Local and Commuter Routes</vt:lpstr>
      <vt:lpstr>Quarterly Index by Route Class</vt:lpstr>
      <vt:lpstr>Forecasting Process</vt:lpstr>
      <vt:lpstr>Ridership Forecasts</vt:lpstr>
      <vt:lpstr>Foregone Fare Revenue</vt:lpstr>
      <vt:lpstr>Detail for GMT Urban Local Routes</vt:lpstr>
      <vt:lpstr>Detail for GMT Urban Commuter Routes</vt:lpstr>
      <vt:lpstr>Costs of Fare Collection</vt:lpstr>
      <vt:lpstr>Cost per Trip</vt:lpstr>
      <vt:lpstr>ADA and NEMT Impacts</vt:lpstr>
      <vt:lpstr>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s on Zero-fare Study and Route Performance Report</dc:title>
  <dc:creator>smf@steadmanhill.com</dc:creator>
  <cp:lastModifiedBy>smf@steadmanhill.com</cp:lastModifiedBy>
  <cp:revision>24</cp:revision>
  <dcterms:created xsi:type="dcterms:W3CDTF">2022-12-12T13:35:49Z</dcterms:created>
  <dcterms:modified xsi:type="dcterms:W3CDTF">2023-01-16T17:54:40Z</dcterms:modified>
</cp:coreProperties>
</file>